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2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19" d="100"/>
          <a:sy n="119" d="100"/>
        </p:scale>
        <p:origin x="390" y="108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4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4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4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4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4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14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0400" y="943593"/>
            <a:ext cx="9864000" cy="450000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495</TotalTime>
  <Words>6</Words>
  <Application>Microsoft Office PowerPoint</Application>
  <PresentationFormat>Custom</PresentationFormat>
  <Paragraphs>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1</cp:revision>
  <cp:lastPrinted>2017-08-08T07:27:09Z</cp:lastPrinted>
  <dcterms:created xsi:type="dcterms:W3CDTF">2015-06-10T12:48:40Z</dcterms:created>
  <dcterms:modified xsi:type="dcterms:W3CDTF">2025-10-14T21:32:59Z</dcterms:modified>
</cp:coreProperties>
</file>